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6"/>
  </p:notesMasterIdLst>
  <p:handoutMasterIdLst>
    <p:handoutMasterId r:id="rId27"/>
  </p:handoutMasterIdLst>
  <p:sldIdLst>
    <p:sldId id="256" r:id="rId5"/>
    <p:sldId id="2147375589" r:id="rId6"/>
    <p:sldId id="4848" r:id="rId7"/>
    <p:sldId id="2147375597" r:id="rId8"/>
    <p:sldId id="2147375600" r:id="rId9"/>
    <p:sldId id="2147375615" r:id="rId10"/>
    <p:sldId id="2147375601" r:id="rId11"/>
    <p:sldId id="2147375616" r:id="rId12"/>
    <p:sldId id="2147375602" r:id="rId13"/>
    <p:sldId id="2147375603" r:id="rId14"/>
    <p:sldId id="2147375604" r:id="rId15"/>
    <p:sldId id="2147375605" r:id="rId16"/>
    <p:sldId id="2147375606" r:id="rId17"/>
    <p:sldId id="2147375607" r:id="rId18"/>
    <p:sldId id="2147375608" r:id="rId19"/>
    <p:sldId id="2147375610" r:id="rId20"/>
    <p:sldId id="2147375611" r:id="rId21"/>
    <p:sldId id="2147375612" r:id="rId22"/>
    <p:sldId id="2147375613" r:id="rId23"/>
    <p:sldId id="2147375614" r:id="rId24"/>
    <p:sldId id="1633" r:id="rId25"/>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781DC6-9D46-4AD0-A6AA-565E3D71A271}" v="1" dt="2024-08-30T16:13:22.4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Srivastava, Deepika S SBOBNG-PTIY/AGE" userId="8599aff4-1a06-4057-ab1a-3984da1704ca" providerId="ADAL" clId="{83781DC6-9D46-4AD0-A6AA-565E3D71A271}"/>
    <pc:docChg chg="undo custSel addSld delSld modSld sldOrd">
      <pc:chgData name="Srivastava, Deepika S SBOBNG-PTIY/AGE" userId="8599aff4-1a06-4057-ab1a-3984da1704ca" providerId="ADAL" clId="{83781DC6-9D46-4AD0-A6AA-565E3D71A271}" dt="2024-08-30T18:34:25.486" v="7659" actId="1076"/>
      <pc:docMkLst>
        <pc:docMk/>
      </pc:docMkLst>
      <pc:sldChg chg="modSp mod">
        <pc:chgData name="Srivastava, Deepika S SBOBNG-PTIY/AGE" userId="8599aff4-1a06-4057-ab1a-3984da1704ca" providerId="ADAL" clId="{83781DC6-9D46-4AD0-A6AA-565E3D71A271}" dt="2024-08-30T15:04:05.053" v="33" actId="20577"/>
        <pc:sldMkLst>
          <pc:docMk/>
          <pc:sldMk cId="3267775274" sldId="256"/>
        </pc:sldMkLst>
        <pc:spChg chg="mod">
          <ac:chgData name="Srivastava, Deepika S SBOBNG-PTIY/AGE" userId="8599aff4-1a06-4057-ab1a-3984da1704ca" providerId="ADAL" clId="{83781DC6-9D46-4AD0-A6AA-565E3D71A271}" dt="2024-08-30T15:03:55.434" v="5" actId="20577"/>
          <ac:spMkLst>
            <pc:docMk/>
            <pc:sldMk cId="3267775274" sldId="256"/>
            <ac:spMk id="6" creationId="{0C37A4A8-A3C7-407F-B123-88E2E165C827}"/>
          </ac:spMkLst>
        </pc:spChg>
        <pc:spChg chg="mod">
          <ac:chgData name="Srivastava, Deepika S SBOBNG-PTIY/AGE" userId="8599aff4-1a06-4057-ab1a-3984da1704ca" providerId="ADAL" clId="{83781DC6-9D46-4AD0-A6AA-565E3D71A271}" dt="2024-08-30T15:04:05.053" v="33" actId="20577"/>
          <ac:spMkLst>
            <pc:docMk/>
            <pc:sldMk cId="3267775274" sldId="256"/>
            <ac:spMk id="12" creationId="{8A24547F-8A92-CDC5-A578-3733390534F2}"/>
          </ac:spMkLst>
        </pc:spChg>
      </pc:sldChg>
      <pc:sldChg chg="addSp modSp mod">
        <pc:chgData name="Srivastava, Deepika S SBOBNG-PTIY/AGE" userId="8599aff4-1a06-4057-ab1a-3984da1704ca" providerId="ADAL" clId="{83781DC6-9D46-4AD0-A6AA-565E3D71A271}" dt="2024-08-30T16:13:30.358" v="247" actId="962"/>
        <pc:sldMkLst>
          <pc:docMk/>
          <pc:sldMk cId="867832184" sldId="2147375589"/>
        </pc:sldMkLst>
        <pc:spChg chg="mod">
          <ac:chgData name="Srivastava, Deepika S SBOBNG-PTIY/AGE" userId="8599aff4-1a06-4057-ab1a-3984da1704ca" providerId="ADAL" clId="{83781DC6-9D46-4AD0-A6AA-565E3D71A271}" dt="2024-08-30T16:10:11.642" v="243" actId="20577"/>
          <ac:spMkLst>
            <pc:docMk/>
            <pc:sldMk cId="867832184" sldId="2147375589"/>
            <ac:spMk id="10" creationId="{1119CB9E-042F-11E8-F683-654626D307B3}"/>
          </ac:spMkLst>
        </pc:spChg>
        <pc:picChg chg="add mod">
          <ac:chgData name="Srivastava, Deepika S SBOBNG-PTIY/AGE" userId="8599aff4-1a06-4057-ab1a-3984da1704ca" providerId="ADAL" clId="{83781DC6-9D46-4AD0-A6AA-565E3D71A271}" dt="2024-08-30T16:13:30.358" v="247" actId="962"/>
          <ac:picMkLst>
            <pc:docMk/>
            <pc:sldMk cId="867832184" sldId="2147375589"/>
            <ac:picMk id="6" creationId="{BB155DA2-D0FF-20FA-A68F-D1CD16E6004F}"/>
          </ac:picMkLst>
        </pc:picChg>
      </pc:sldChg>
      <pc:sldChg chg="modSp mod">
        <pc:chgData name="Srivastava, Deepika S SBOBNG-PTIY/AGE" userId="8599aff4-1a06-4057-ab1a-3984da1704ca" providerId="ADAL" clId="{83781DC6-9D46-4AD0-A6AA-565E3D71A271}" dt="2024-08-30T16:38:40.737" v="1099" actId="255"/>
        <pc:sldMkLst>
          <pc:docMk/>
          <pc:sldMk cId="245881457" sldId="2147375597"/>
        </pc:sldMkLst>
        <pc:spChg chg="mod">
          <ac:chgData name="Srivastava, Deepika S SBOBNG-PTIY/AGE" userId="8599aff4-1a06-4057-ab1a-3984da1704ca" providerId="ADAL" clId="{83781DC6-9D46-4AD0-A6AA-565E3D71A271}" dt="2024-08-30T16:33:39.638" v="739" actId="20577"/>
          <ac:spMkLst>
            <pc:docMk/>
            <pc:sldMk cId="245881457" sldId="2147375597"/>
            <ac:spMk id="3" creationId="{CEA128C4-A0BC-A895-713C-306E7FF62894}"/>
          </ac:spMkLst>
        </pc:spChg>
        <pc:spChg chg="mod">
          <ac:chgData name="Srivastava, Deepika S SBOBNG-PTIY/AGE" userId="8599aff4-1a06-4057-ab1a-3984da1704ca" providerId="ADAL" clId="{83781DC6-9D46-4AD0-A6AA-565E3D71A271}" dt="2024-08-30T16:38:40.737" v="1099" actId="255"/>
          <ac:spMkLst>
            <pc:docMk/>
            <pc:sldMk cId="245881457" sldId="2147375597"/>
            <ac:spMk id="11" creationId="{DE9F1BE0-7910-FA1B-DCE8-56EFD1E4FC09}"/>
          </ac:spMkLst>
        </pc:spChg>
        <pc:spChg chg="mod">
          <ac:chgData name="Srivastava, Deepika S SBOBNG-PTIY/AGE" userId="8599aff4-1a06-4057-ab1a-3984da1704ca" providerId="ADAL" clId="{83781DC6-9D46-4AD0-A6AA-565E3D71A271}" dt="2024-08-30T16:34:38.490" v="784" actId="20577"/>
          <ac:spMkLst>
            <pc:docMk/>
            <pc:sldMk cId="245881457" sldId="2147375597"/>
            <ac:spMk id="12" creationId="{E53E5C3F-4D2B-B85F-E592-E58E032C664C}"/>
          </ac:spMkLst>
        </pc:spChg>
      </pc:sldChg>
      <pc:sldChg chg="modSp mod">
        <pc:chgData name="Srivastava, Deepika S SBOBNG-PTIY/AGE" userId="8599aff4-1a06-4057-ab1a-3984da1704ca" providerId="ADAL" clId="{83781DC6-9D46-4AD0-A6AA-565E3D71A271}" dt="2024-08-30T17:15:18.089" v="1982" actId="403"/>
        <pc:sldMkLst>
          <pc:docMk/>
          <pc:sldMk cId="1181112711" sldId="2147375600"/>
        </pc:sldMkLst>
        <pc:spChg chg="mod">
          <ac:chgData name="Srivastava, Deepika S SBOBNG-PTIY/AGE" userId="8599aff4-1a06-4057-ab1a-3984da1704ca" providerId="ADAL" clId="{83781DC6-9D46-4AD0-A6AA-565E3D71A271}" dt="2024-08-30T16:35:38.882" v="791" actId="20577"/>
          <ac:spMkLst>
            <pc:docMk/>
            <pc:sldMk cId="1181112711" sldId="2147375600"/>
            <ac:spMk id="3" creationId="{CEA128C4-A0BC-A895-713C-306E7FF62894}"/>
          </ac:spMkLst>
        </pc:spChg>
        <pc:spChg chg="mod">
          <ac:chgData name="Srivastava, Deepika S SBOBNG-PTIY/AGE" userId="8599aff4-1a06-4057-ab1a-3984da1704ca" providerId="ADAL" clId="{83781DC6-9D46-4AD0-A6AA-565E3D71A271}" dt="2024-08-30T17:11:06.138" v="1519" actId="404"/>
          <ac:spMkLst>
            <pc:docMk/>
            <pc:sldMk cId="1181112711" sldId="2147375600"/>
            <ac:spMk id="11" creationId="{DE9F1BE0-7910-FA1B-DCE8-56EFD1E4FC09}"/>
          </ac:spMkLst>
        </pc:spChg>
        <pc:spChg chg="mod">
          <ac:chgData name="Srivastava, Deepika S SBOBNG-PTIY/AGE" userId="8599aff4-1a06-4057-ab1a-3984da1704ca" providerId="ADAL" clId="{83781DC6-9D46-4AD0-A6AA-565E3D71A271}" dt="2024-08-30T17:15:18.089" v="1982" actId="403"/>
          <ac:spMkLst>
            <pc:docMk/>
            <pc:sldMk cId="1181112711" sldId="2147375600"/>
            <ac:spMk id="12" creationId="{E53E5C3F-4D2B-B85F-E592-E58E032C664C}"/>
          </ac:spMkLst>
        </pc:spChg>
      </pc:sldChg>
      <pc:sldChg chg="modSp mod">
        <pc:chgData name="Srivastava, Deepika S SBOBNG-PTIY/AGE" userId="8599aff4-1a06-4057-ab1a-3984da1704ca" providerId="ADAL" clId="{83781DC6-9D46-4AD0-A6AA-565E3D71A271}" dt="2024-08-30T17:54:27.034" v="4154" actId="113"/>
        <pc:sldMkLst>
          <pc:docMk/>
          <pc:sldMk cId="3233747587" sldId="2147375601"/>
        </pc:sldMkLst>
        <pc:spChg chg="mod">
          <ac:chgData name="Srivastava, Deepika S SBOBNG-PTIY/AGE" userId="8599aff4-1a06-4057-ab1a-3984da1704ca" providerId="ADAL" clId="{83781DC6-9D46-4AD0-A6AA-565E3D71A271}" dt="2024-08-30T17:36:52.194" v="2625" actId="20577"/>
          <ac:spMkLst>
            <pc:docMk/>
            <pc:sldMk cId="3233747587" sldId="2147375601"/>
            <ac:spMk id="3" creationId="{CEA128C4-A0BC-A895-713C-306E7FF62894}"/>
          </ac:spMkLst>
        </pc:spChg>
        <pc:spChg chg="mod">
          <ac:chgData name="Srivastava, Deepika S SBOBNG-PTIY/AGE" userId="8599aff4-1a06-4057-ab1a-3984da1704ca" providerId="ADAL" clId="{83781DC6-9D46-4AD0-A6AA-565E3D71A271}" dt="2024-08-30T17:54:27.034" v="4154" actId="113"/>
          <ac:spMkLst>
            <pc:docMk/>
            <pc:sldMk cId="3233747587" sldId="2147375601"/>
            <ac:spMk id="11" creationId="{DE9F1BE0-7910-FA1B-DCE8-56EFD1E4FC09}"/>
          </ac:spMkLst>
        </pc:spChg>
        <pc:spChg chg="mod">
          <ac:chgData name="Srivastava, Deepika S SBOBNG-PTIY/AGE" userId="8599aff4-1a06-4057-ab1a-3984da1704ca" providerId="ADAL" clId="{83781DC6-9D46-4AD0-A6AA-565E3D71A271}" dt="2024-08-30T17:51:14.525" v="4149" actId="20577"/>
          <ac:spMkLst>
            <pc:docMk/>
            <pc:sldMk cId="3233747587" sldId="2147375601"/>
            <ac:spMk id="12" creationId="{E53E5C3F-4D2B-B85F-E592-E58E032C664C}"/>
          </ac:spMkLst>
        </pc:spChg>
      </pc:sldChg>
      <pc:sldChg chg="delSp modSp mod">
        <pc:chgData name="Srivastava, Deepika S SBOBNG-PTIY/AGE" userId="8599aff4-1a06-4057-ab1a-3984da1704ca" providerId="ADAL" clId="{83781DC6-9D46-4AD0-A6AA-565E3D71A271}" dt="2024-08-30T18:33:21.785" v="7648" actId="1076"/>
        <pc:sldMkLst>
          <pc:docMk/>
          <pc:sldMk cId="3971512377" sldId="2147375603"/>
        </pc:sldMkLst>
        <pc:spChg chg="mod">
          <ac:chgData name="Srivastava, Deepika S SBOBNG-PTIY/AGE" userId="8599aff4-1a06-4057-ab1a-3984da1704ca" providerId="ADAL" clId="{83781DC6-9D46-4AD0-A6AA-565E3D71A271}" dt="2024-08-30T18:33:21.785" v="7648" actId="1076"/>
          <ac:spMkLst>
            <pc:docMk/>
            <pc:sldMk cId="3971512377" sldId="2147375603"/>
            <ac:spMk id="11" creationId="{DE9F1BE0-7910-FA1B-DCE8-56EFD1E4FC09}"/>
          </ac:spMkLst>
        </pc:spChg>
        <pc:spChg chg="del mod">
          <ac:chgData name="Srivastava, Deepika S SBOBNG-PTIY/AGE" userId="8599aff4-1a06-4057-ab1a-3984da1704ca" providerId="ADAL" clId="{83781DC6-9D46-4AD0-A6AA-565E3D71A271}" dt="2024-08-30T18:33:17.238" v="7647" actId="21"/>
          <ac:spMkLst>
            <pc:docMk/>
            <pc:sldMk cId="3971512377" sldId="2147375603"/>
            <ac:spMk id="12" creationId="{E53E5C3F-4D2B-B85F-E592-E58E032C664C}"/>
          </ac:spMkLst>
        </pc:spChg>
      </pc:sldChg>
      <pc:sldChg chg="delSp modSp mod">
        <pc:chgData name="Srivastava, Deepika S SBOBNG-PTIY/AGE" userId="8599aff4-1a06-4057-ab1a-3984da1704ca" providerId="ADAL" clId="{83781DC6-9D46-4AD0-A6AA-565E3D71A271}" dt="2024-08-30T18:33:34.496" v="7651" actId="1076"/>
        <pc:sldMkLst>
          <pc:docMk/>
          <pc:sldMk cId="3179805674" sldId="2147375604"/>
        </pc:sldMkLst>
        <pc:spChg chg="mod">
          <ac:chgData name="Srivastava, Deepika S SBOBNG-PTIY/AGE" userId="8599aff4-1a06-4057-ab1a-3984da1704ca" providerId="ADAL" clId="{83781DC6-9D46-4AD0-A6AA-565E3D71A271}" dt="2024-08-30T18:33:34.496" v="7651" actId="1076"/>
          <ac:spMkLst>
            <pc:docMk/>
            <pc:sldMk cId="3179805674" sldId="2147375604"/>
            <ac:spMk id="11" creationId="{DE9F1BE0-7910-FA1B-DCE8-56EFD1E4FC09}"/>
          </ac:spMkLst>
        </pc:spChg>
        <pc:spChg chg="del">
          <ac:chgData name="Srivastava, Deepika S SBOBNG-PTIY/AGE" userId="8599aff4-1a06-4057-ab1a-3984da1704ca" providerId="ADAL" clId="{83781DC6-9D46-4AD0-A6AA-565E3D71A271}" dt="2024-08-30T18:33:28.714" v="7649" actId="21"/>
          <ac:spMkLst>
            <pc:docMk/>
            <pc:sldMk cId="3179805674" sldId="2147375604"/>
            <ac:spMk id="12" creationId="{E53E5C3F-4D2B-B85F-E592-E58E032C664C}"/>
          </ac:spMkLst>
        </pc:spChg>
      </pc:sldChg>
      <pc:sldChg chg="delSp modSp mod">
        <pc:chgData name="Srivastava, Deepika S SBOBNG-PTIY/AGE" userId="8599aff4-1a06-4057-ab1a-3984da1704ca" providerId="ADAL" clId="{83781DC6-9D46-4AD0-A6AA-565E3D71A271}" dt="2024-08-30T18:33:43.697" v="7653" actId="1076"/>
        <pc:sldMkLst>
          <pc:docMk/>
          <pc:sldMk cId="86366928" sldId="2147375605"/>
        </pc:sldMkLst>
        <pc:spChg chg="mod">
          <ac:chgData name="Srivastava, Deepika S SBOBNG-PTIY/AGE" userId="8599aff4-1a06-4057-ab1a-3984da1704ca" providerId="ADAL" clId="{83781DC6-9D46-4AD0-A6AA-565E3D71A271}" dt="2024-08-30T18:33:43.697" v="7653" actId="1076"/>
          <ac:spMkLst>
            <pc:docMk/>
            <pc:sldMk cId="86366928" sldId="2147375605"/>
            <ac:spMk id="11" creationId="{DE9F1BE0-7910-FA1B-DCE8-56EFD1E4FC09}"/>
          </ac:spMkLst>
        </pc:spChg>
        <pc:spChg chg="del">
          <ac:chgData name="Srivastava, Deepika S SBOBNG-PTIY/AGE" userId="8599aff4-1a06-4057-ab1a-3984da1704ca" providerId="ADAL" clId="{83781DC6-9D46-4AD0-A6AA-565E3D71A271}" dt="2024-08-30T18:33:39.774" v="7652" actId="21"/>
          <ac:spMkLst>
            <pc:docMk/>
            <pc:sldMk cId="86366928" sldId="2147375605"/>
            <ac:spMk id="12" creationId="{E53E5C3F-4D2B-B85F-E592-E58E032C664C}"/>
          </ac:spMkLst>
        </pc:spChg>
      </pc:sldChg>
      <pc:sldChg chg="delSp modSp mod">
        <pc:chgData name="Srivastava, Deepika S SBOBNG-PTIY/AGE" userId="8599aff4-1a06-4057-ab1a-3984da1704ca" providerId="ADAL" clId="{83781DC6-9D46-4AD0-A6AA-565E3D71A271}" dt="2024-08-30T18:33:55.628" v="7655" actId="1076"/>
        <pc:sldMkLst>
          <pc:docMk/>
          <pc:sldMk cId="2340944189" sldId="2147375607"/>
        </pc:sldMkLst>
        <pc:spChg chg="mod">
          <ac:chgData name="Srivastava, Deepika S SBOBNG-PTIY/AGE" userId="8599aff4-1a06-4057-ab1a-3984da1704ca" providerId="ADAL" clId="{83781DC6-9D46-4AD0-A6AA-565E3D71A271}" dt="2024-08-30T18:33:55.628" v="7655" actId="1076"/>
          <ac:spMkLst>
            <pc:docMk/>
            <pc:sldMk cId="2340944189" sldId="2147375607"/>
            <ac:spMk id="11" creationId="{DE9F1BE0-7910-FA1B-DCE8-56EFD1E4FC09}"/>
          </ac:spMkLst>
        </pc:spChg>
        <pc:spChg chg="del">
          <ac:chgData name="Srivastava, Deepika S SBOBNG-PTIY/AGE" userId="8599aff4-1a06-4057-ab1a-3984da1704ca" providerId="ADAL" clId="{83781DC6-9D46-4AD0-A6AA-565E3D71A271}" dt="2024-08-30T18:33:52.476" v="7654" actId="21"/>
          <ac:spMkLst>
            <pc:docMk/>
            <pc:sldMk cId="2340944189" sldId="2147375607"/>
            <ac:spMk id="12" creationId="{E53E5C3F-4D2B-B85F-E592-E58E032C664C}"/>
          </ac:spMkLst>
        </pc:spChg>
      </pc:sldChg>
      <pc:sldChg chg="delSp modSp mod">
        <pc:chgData name="Srivastava, Deepika S SBOBNG-PTIY/AGE" userId="8599aff4-1a06-4057-ab1a-3984da1704ca" providerId="ADAL" clId="{83781DC6-9D46-4AD0-A6AA-565E3D71A271}" dt="2024-08-30T18:34:04.213" v="7657" actId="1076"/>
        <pc:sldMkLst>
          <pc:docMk/>
          <pc:sldMk cId="3159148252" sldId="2147375608"/>
        </pc:sldMkLst>
        <pc:spChg chg="mod">
          <ac:chgData name="Srivastava, Deepika S SBOBNG-PTIY/AGE" userId="8599aff4-1a06-4057-ab1a-3984da1704ca" providerId="ADAL" clId="{83781DC6-9D46-4AD0-A6AA-565E3D71A271}" dt="2024-08-30T18:34:04.213" v="7657" actId="1076"/>
          <ac:spMkLst>
            <pc:docMk/>
            <pc:sldMk cId="3159148252" sldId="2147375608"/>
            <ac:spMk id="11" creationId="{DE9F1BE0-7910-FA1B-DCE8-56EFD1E4FC09}"/>
          </ac:spMkLst>
        </pc:spChg>
        <pc:spChg chg="del">
          <ac:chgData name="Srivastava, Deepika S SBOBNG-PTIY/AGE" userId="8599aff4-1a06-4057-ab1a-3984da1704ca" providerId="ADAL" clId="{83781DC6-9D46-4AD0-A6AA-565E3D71A271}" dt="2024-08-30T18:34:02.025" v="7656" actId="21"/>
          <ac:spMkLst>
            <pc:docMk/>
            <pc:sldMk cId="3159148252" sldId="2147375608"/>
            <ac:spMk id="12" creationId="{E53E5C3F-4D2B-B85F-E592-E58E032C664C}"/>
          </ac:spMkLst>
        </pc:spChg>
      </pc:sldChg>
      <pc:sldChg chg="del">
        <pc:chgData name="Srivastava, Deepika S SBOBNG-PTIY/AGE" userId="8599aff4-1a06-4057-ab1a-3984da1704ca" providerId="ADAL" clId="{83781DC6-9D46-4AD0-A6AA-565E3D71A271}" dt="2024-08-30T18:32:05.539" v="7645" actId="2696"/>
        <pc:sldMkLst>
          <pc:docMk/>
          <pc:sldMk cId="3070204084" sldId="2147375609"/>
        </pc:sldMkLst>
      </pc:sldChg>
      <pc:sldChg chg="modSp mod">
        <pc:chgData name="Srivastava, Deepika S SBOBNG-PTIY/AGE" userId="8599aff4-1a06-4057-ab1a-3984da1704ca" providerId="ADAL" clId="{83781DC6-9D46-4AD0-A6AA-565E3D71A271}" dt="2024-08-30T18:20:47.969" v="6196" actId="20577"/>
        <pc:sldMkLst>
          <pc:docMk/>
          <pc:sldMk cId="3754613224" sldId="2147375611"/>
        </pc:sldMkLst>
        <pc:spChg chg="mod">
          <ac:chgData name="Srivastava, Deepika S SBOBNG-PTIY/AGE" userId="8599aff4-1a06-4057-ab1a-3984da1704ca" providerId="ADAL" clId="{83781DC6-9D46-4AD0-A6AA-565E3D71A271}" dt="2024-08-30T18:19:52.499" v="6100" actId="20577"/>
          <ac:spMkLst>
            <pc:docMk/>
            <pc:sldMk cId="3754613224" sldId="2147375611"/>
            <ac:spMk id="18" creationId="{6C73795A-BE20-7075-E9C6-6F145CE60794}"/>
          </ac:spMkLst>
        </pc:spChg>
        <pc:spChg chg="mod">
          <ac:chgData name="Srivastava, Deepika S SBOBNG-PTIY/AGE" userId="8599aff4-1a06-4057-ab1a-3984da1704ca" providerId="ADAL" clId="{83781DC6-9D46-4AD0-A6AA-565E3D71A271}" dt="2024-08-30T18:20:47.969" v="6196" actId="20577"/>
          <ac:spMkLst>
            <pc:docMk/>
            <pc:sldMk cId="3754613224" sldId="2147375611"/>
            <ac:spMk id="19" creationId="{A3E2F4D1-4417-E244-3DB9-A6FF5866A342}"/>
          </ac:spMkLst>
        </pc:spChg>
      </pc:sldChg>
      <pc:sldChg chg="delSp modSp mod">
        <pc:chgData name="Srivastava, Deepika S SBOBNG-PTIY/AGE" userId="8599aff4-1a06-4057-ab1a-3984da1704ca" providerId="ADAL" clId="{83781DC6-9D46-4AD0-A6AA-565E3D71A271}" dt="2024-08-30T18:34:25.486" v="7659" actId="1076"/>
        <pc:sldMkLst>
          <pc:docMk/>
          <pc:sldMk cId="1148838763" sldId="2147375613"/>
        </pc:sldMkLst>
        <pc:spChg chg="mod">
          <ac:chgData name="Srivastava, Deepika S SBOBNG-PTIY/AGE" userId="8599aff4-1a06-4057-ab1a-3984da1704ca" providerId="ADAL" clId="{83781DC6-9D46-4AD0-A6AA-565E3D71A271}" dt="2024-08-30T18:34:25.486" v="7659" actId="1076"/>
          <ac:spMkLst>
            <pc:docMk/>
            <pc:sldMk cId="1148838763" sldId="2147375613"/>
            <ac:spMk id="11" creationId="{8CC1343B-2E39-FEFF-8FF6-46822F18B432}"/>
          </ac:spMkLst>
        </pc:spChg>
        <pc:spChg chg="del">
          <ac:chgData name="Srivastava, Deepika S SBOBNG-PTIY/AGE" userId="8599aff4-1a06-4057-ab1a-3984da1704ca" providerId="ADAL" clId="{83781DC6-9D46-4AD0-A6AA-565E3D71A271}" dt="2024-08-30T18:34:17.285" v="7658" actId="21"/>
          <ac:spMkLst>
            <pc:docMk/>
            <pc:sldMk cId="1148838763" sldId="2147375613"/>
            <ac:spMk id="12" creationId="{5A873A1A-E63F-91AE-7D43-ED0F86870147}"/>
          </ac:spMkLst>
        </pc:spChg>
      </pc:sldChg>
      <pc:sldChg chg="modSp mod">
        <pc:chgData name="Srivastava, Deepika S SBOBNG-PTIY/AGE" userId="8599aff4-1a06-4057-ab1a-3984da1704ca" providerId="ADAL" clId="{83781DC6-9D46-4AD0-A6AA-565E3D71A271}" dt="2024-08-30T18:23:11.539" v="6648" actId="20577"/>
        <pc:sldMkLst>
          <pc:docMk/>
          <pc:sldMk cId="3865850111" sldId="2147375614"/>
        </pc:sldMkLst>
        <pc:spChg chg="mod">
          <ac:chgData name="Srivastava, Deepika S SBOBNG-PTIY/AGE" userId="8599aff4-1a06-4057-ab1a-3984da1704ca" providerId="ADAL" clId="{83781DC6-9D46-4AD0-A6AA-565E3D71A271}" dt="2024-08-30T18:23:11.539" v="6648" actId="20577"/>
          <ac:spMkLst>
            <pc:docMk/>
            <pc:sldMk cId="3865850111" sldId="2147375614"/>
            <ac:spMk id="6" creationId="{AC2F88D2-81D4-FAD4-568E-A3F495B06411}"/>
          </ac:spMkLst>
        </pc:spChg>
      </pc:sldChg>
      <pc:sldChg chg="modSp add mod">
        <pc:chgData name="Srivastava, Deepika S SBOBNG-PTIY/AGE" userId="8599aff4-1a06-4057-ab1a-3984da1704ca" providerId="ADAL" clId="{83781DC6-9D46-4AD0-A6AA-565E3D71A271}" dt="2024-08-30T17:54:13.115" v="4150" actId="113"/>
        <pc:sldMkLst>
          <pc:docMk/>
          <pc:sldMk cId="2357539254" sldId="2147375615"/>
        </pc:sldMkLst>
        <pc:spChg chg="mod">
          <ac:chgData name="Srivastava, Deepika S SBOBNG-PTIY/AGE" userId="8599aff4-1a06-4057-ab1a-3984da1704ca" providerId="ADAL" clId="{83781DC6-9D46-4AD0-A6AA-565E3D71A271}" dt="2024-08-30T17:54:13.115" v="4150" actId="113"/>
          <ac:spMkLst>
            <pc:docMk/>
            <pc:sldMk cId="2357539254" sldId="2147375615"/>
            <ac:spMk id="11" creationId="{DE9F1BE0-7910-FA1B-DCE8-56EFD1E4FC09}"/>
          </ac:spMkLst>
        </pc:spChg>
        <pc:spChg chg="mod">
          <ac:chgData name="Srivastava, Deepika S SBOBNG-PTIY/AGE" userId="8599aff4-1a06-4057-ab1a-3984da1704ca" providerId="ADAL" clId="{83781DC6-9D46-4AD0-A6AA-565E3D71A271}" dt="2024-08-30T17:38:23.541" v="2758" actId="20577"/>
          <ac:spMkLst>
            <pc:docMk/>
            <pc:sldMk cId="2357539254" sldId="2147375615"/>
            <ac:spMk id="12" creationId="{E53E5C3F-4D2B-B85F-E592-E58E032C664C}"/>
          </ac:spMkLst>
        </pc:spChg>
      </pc:sldChg>
      <pc:sldChg chg="modSp add mod ord">
        <pc:chgData name="Srivastava, Deepika S SBOBNG-PTIY/AGE" userId="8599aff4-1a06-4057-ab1a-3984da1704ca" providerId="ADAL" clId="{83781DC6-9D46-4AD0-A6AA-565E3D71A271}" dt="2024-08-30T18:05:39.826" v="5206" actId="27636"/>
        <pc:sldMkLst>
          <pc:docMk/>
          <pc:sldMk cId="2235190286" sldId="2147375616"/>
        </pc:sldMkLst>
        <pc:spChg chg="mod">
          <ac:chgData name="Srivastava, Deepika S SBOBNG-PTIY/AGE" userId="8599aff4-1a06-4057-ab1a-3984da1704ca" providerId="ADAL" clId="{83781DC6-9D46-4AD0-A6AA-565E3D71A271}" dt="2024-08-30T17:55:50.272" v="4237" actId="20577"/>
          <ac:spMkLst>
            <pc:docMk/>
            <pc:sldMk cId="2235190286" sldId="2147375616"/>
            <ac:spMk id="3" creationId="{CEA128C4-A0BC-A895-713C-306E7FF62894}"/>
          </ac:spMkLst>
        </pc:spChg>
        <pc:spChg chg="mod">
          <ac:chgData name="Srivastava, Deepika S SBOBNG-PTIY/AGE" userId="8599aff4-1a06-4057-ab1a-3984da1704ca" providerId="ADAL" clId="{83781DC6-9D46-4AD0-A6AA-565E3D71A271}" dt="2024-08-30T18:05:34.886" v="5204" actId="14100"/>
          <ac:spMkLst>
            <pc:docMk/>
            <pc:sldMk cId="2235190286" sldId="2147375616"/>
            <ac:spMk id="11" creationId="{DE9F1BE0-7910-FA1B-DCE8-56EFD1E4FC09}"/>
          </ac:spMkLst>
        </pc:spChg>
        <pc:spChg chg="mod">
          <ac:chgData name="Srivastava, Deepika S SBOBNG-PTIY/AGE" userId="8599aff4-1a06-4057-ab1a-3984da1704ca" providerId="ADAL" clId="{83781DC6-9D46-4AD0-A6AA-565E3D71A271}" dt="2024-08-30T18:05:39.826" v="5206" actId="27636"/>
          <ac:spMkLst>
            <pc:docMk/>
            <pc:sldMk cId="2235190286" sldId="2147375616"/>
            <ac:spMk id="12" creationId="{E53E5C3F-4D2B-B85F-E592-E58E032C664C}"/>
          </ac:spMkLst>
        </pc:spChg>
      </pc:sld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Deepika Srivastav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2896636" y="188024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Professionalism is an integral part of any company’s culture. It makes the environment honest, transparent and healthy. </a:t>
            </a:r>
          </a:p>
          <a:p>
            <a:pPr marL="0" indent="0">
              <a:buNone/>
            </a:pPr>
            <a:r>
              <a:rPr lang="en-US" sz="2000" dirty="0"/>
              <a:t>Shell strongly believes in well-being of its employees and also follows strict cultural policies. </a:t>
            </a:r>
          </a:p>
          <a:p>
            <a:pPr marL="0" indent="0">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266786" y="1751925"/>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rust and honesty go hand-in-hand in Shell and they are the core values of the company. </a:t>
            </a:r>
          </a:p>
          <a:p>
            <a:pPr marL="0" indent="0">
              <a:buNone/>
            </a:pPr>
            <a:r>
              <a:rPr lang="en-US" sz="2000" dirty="0"/>
              <a:t>Moreover stakeholders are an integral part of business so it becomes important to understand the stakeholder relationship dynamics to understand the business.</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17980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2627129" y="1670620"/>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ithout Team work a company would not sustain hence learning how a team works and the importance of it is crucial before embarking a journey in a company like Shell.</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137268" y="1751925"/>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 took a note of the Professional etiquettes that are expected in a  professional and I might not be perfect in all of them but with a learning mindset I am sure that I will be able to inculcate those skills in me.</a:t>
            </a:r>
          </a:p>
          <a:p>
            <a:pPr marL="0" indent="0">
              <a:buNone/>
            </a:pPr>
            <a:endParaRPr lang="en-US" sz="2000" dirty="0"/>
          </a:p>
          <a:p>
            <a:pPr marL="0" indent="0">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118017" y="1670620"/>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nitially there was some miscommunication amongst the teammates as they were not able to put up their ideas clearly but in no time, we were able to understand how a team works and how we need to collaborate in order to make a project or task successful.</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echnical Training</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oftware testing</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DevOps</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Cloud </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DBMS</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Case Work</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effectLst>
                  <a:outerShdw blurRad="38100" dist="38100" dir="2700000" algn="tl">
                    <a:srgbClr val="000000">
                      <a:alpha val="43137"/>
                    </a:srgbClr>
                  </a:outerShdw>
                </a:effectLst>
              </a:rPr>
              <a:t>Status of the same by the end of the week</a:t>
            </a: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2964014" y="1670620"/>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The learning in this week was highly interactive and experience based. Experiential learning helps us to connect with the topics and understand them faster. </a:t>
            </a:r>
          </a:p>
          <a:p>
            <a:pPr marL="0" indent="0">
              <a:buFont typeface="Arial" panose="020B0604020202020204" pitchFamily="34" charset="0"/>
              <a:buNone/>
            </a:pPr>
            <a:r>
              <a:rPr lang="en-US" sz="2000" dirty="0"/>
              <a:t>One of my favorite activities that took place was the “Chinese Whisper game” which was supposed to teach us the importance of teamwork and how deliverables will be affected if even one of the teammate fails at a job.</a:t>
            </a:r>
          </a:p>
        </p:txBody>
      </p:sp>
    </p:spTree>
    <p:extLst>
      <p:ext uri="{BB962C8B-B14F-4D97-AF65-F5344CB8AC3E}">
        <p14:creationId xmlns:p14="http://schemas.microsoft.com/office/powerpoint/2010/main" val="1148838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ctr">
              <a:buFont typeface="Arial" panose="020B0604020202020204" pitchFamily="34" charset="0"/>
              <a:buAutoNum type="arabicPeriod"/>
            </a:pPr>
            <a:r>
              <a:rPr lang="en-US" sz="2000" dirty="0"/>
              <a:t>Don’t just dream but AIM.</a:t>
            </a:r>
          </a:p>
          <a:p>
            <a:pPr marL="457200" indent="-457200" algn="ctr">
              <a:buFont typeface="Arial" panose="020B0604020202020204" pitchFamily="34" charset="0"/>
              <a:buAutoNum type="arabicPeriod"/>
            </a:pPr>
            <a:r>
              <a:rPr lang="en-US" sz="2000" dirty="0"/>
              <a:t>Promising myself everyday to be a better person tomorrow than I was today.</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t>Please share an image / visual that best represents you</a:t>
            </a:r>
            <a:endParaRPr lang="en-US" sz="2000" dirty="0"/>
          </a:p>
        </p:txBody>
      </p:sp>
      <p:pic>
        <p:nvPicPr>
          <p:cNvPr id="6" name="Picture 5" descr="A cartoon character with a large headpiece&#10;&#10;Description automatically generated with medium confidence">
            <a:extLst>
              <a:ext uri="{FF2B5EF4-FFF2-40B4-BE49-F238E27FC236}">
                <a16:creationId xmlns:a16="http://schemas.microsoft.com/office/drawing/2014/main" id="{BB155DA2-D0FF-20FA-A68F-D1CD16E6004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04044" y="2436145"/>
            <a:ext cx="5144218" cy="2867425"/>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The 1</a:t>
            </a:r>
            <a:r>
              <a:rPr lang="en-US" sz="2000" baseline="30000" dirty="0"/>
              <a:t>st</a:t>
            </a:r>
            <a:r>
              <a:rPr lang="en-US" sz="2000" dirty="0"/>
              <a:t> week of training was a mix of interpersonal skills, public skills and also some technical skills.</a:t>
            </a:r>
          </a:p>
          <a:p>
            <a:pPr>
              <a:lnSpc>
                <a:spcPct val="100000"/>
              </a:lnSpc>
            </a:pPr>
            <a:endParaRPr lang="en-US" sz="2000" dirty="0"/>
          </a:p>
          <a:p>
            <a:pPr>
              <a:lnSpc>
                <a:spcPct val="100000"/>
              </a:lnSpc>
            </a:pPr>
            <a:r>
              <a:rPr lang="en-US" sz="1800" dirty="0"/>
              <a:t>The upcoming week consists of technical topics such as DevOps, Cloud,, database management system, etc. which hold importance for the line of work I will be assigned at.</a:t>
            </a:r>
          </a:p>
          <a:p>
            <a:pPr>
              <a:lnSpc>
                <a:spcPct val="100000"/>
              </a:lnSpc>
            </a:pPr>
            <a:endParaRPr lang="en-US" sz="1800" dirty="0"/>
          </a:p>
          <a:p>
            <a:pPr>
              <a:lnSpc>
                <a:spcPct val="100000"/>
              </a:lnSpc>
            </a:pPr>
            <a:r>
              <a:rPr lang="en-US" sz="1800" dirty="0"/>
              <a:t>Team work and presentation skills will go a long way.</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 | Soft Skills 26/08/24 </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Ø"/>
            </a:pPr>
            <a:r>
              <a:rPr lang="en-US" sz="1500" dirty="0"/>
              <a:t>Professional Etiquettes : </a:t>
            </a:r>
          </a:p>
          <a:p>
            <a:r>
              <a:rPr lang="en-US" sz="1500" dirty="0"/>
              <a:t>Reliability , humility, etiquette, neatness, consideration, dedication, organization, accountability and integrity. (Activity :  Chart)</a:t>
            </a:r>
          </a:p>
          <a:p>
            <a:pPr>
              <a:buFont typeface="Wingdings" panose="05000000000000000000" pitchFamily="2" charset="2"/>
              <a:buChar char="Ø"/>
            </a:pPr>
            <a:r>
              <a:rPr lang="en-US" sz="1500" dirty="0"/>
              <a:t>Fixed Mindset VS Growth Mindset</a:t>
            </a:r>
          </a:p>
          <a:p>
            <a:pPr>
              <a:buFont typeface="Wingdings" panose="05000000000000000000" pitchFamily="2" charset="2"/>
              <a:buChar char="Ø"/>
            </a:pPr>
            <a:r>
              <a:rPr lang="en-US" sz="1500" dirty="0"/>
              <a:t>Neuroplasticity</a:t>
            </a:r>
          </a:p>
          <a:p>
            <a:pPr>
              <a:buFont typeface="Wingdings" panose="05000000000000000000" pitchFamily="2" charset="2"/>
              <a:buChar char="Ø"/>
            </a:pPr>
            <a:r>
              <a:rPr lang="en-US" sz="1500" dirty="0"/>
              <a:t>What is grooming? (Activity :  Roleplay)</a:t>
            </a:r>
          </a:p>
          <a:p>
            <a:pPr>
              <a:buFont typeface="Wingdings" panose="05000000000000000000" pitchFamily="2" charset="2"/>
              <a:buChar char="Ø"/>
            </a:pPr>
            <a:r>
              <a:rPr lang="en-US" sz="1500" dirty="0"/>
              <a:t>Mobile Etiquettes, Meeting Etiquettes,       Chat Etiquettes, Email Etiquettes.</a:t>
            </a:r>
          </a:p>
          <a:p>
            <a:pPr>
              <a:buFont typeface="Wingdings" panose="05000000000000000000" pitchFamily="2" charset="2"/>
              <a:buChar char="Ø"/>
            </a:pPr>
            <a:r>
              <a:rPr lang="en-US" sz="1500" dirty="0"/>
              <a:t>Rules of Email Writing</a:t>
            </a:r>
          </a:p>
          <a:p>
            <a:pPr marL="0" indent="0">
              <a:buNone/>
            </a:pPr>
            <a:r>
              <a:rPr lang="en-US" sz="1500" dirty="0"/>
              <a:t>These learnings will be useful for me while I am working in a team both in physical mode and in hybrid. I have learnt the importance of possessing these qualities and how there’s always a scope of improvement by learning from not just seniors but also peer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OWER Technique</a:t>
            </a:r>
          </a:p>
          <a:p>
            <a:pPr marL="0" indent="0">
              <a:buFont typeface="Arial" panose="020B0604020202020204" pitchFamily="34" charset="0"/>
              <a:buNone/>
            </a:pPr>
            <a:r>
              <a:rPr lang="en-US" sz="2000" dirty="0">
                <a:highlight>
                  <a:srgbClr val="FFFF00"/>
                </a:highlight>
              </a:rPr>
              <a:t>P</a:t>
            </a:r>
            <a:r>
              <a:rPr lang="en-US" sz="2000" dirty="0"/>
              <a:t>lan </a:t>
            </a:r>
            <a:r>
              <a:rPr lang="en-US" sz="2000" dirty="0">
                <a:highlight>
                  <a:srgbClr val="FFFF00"/>
                </a:highlight>
              </a:rPr>
              <a:t>O</a:t>
            </a:r>
            <a:r>
              <a:rPr lang="en-US" sz="2000" dirty="0"/>
              <a:t>rganize </a:t>
            </a:r>
            <a:r>
              <a:rPr lang="en-US" sz="2000" dirty="0">
                <a:highlight>
                  <a:srgbClr val="FFFF00"/>
                </a:highlight>
              </a:rPr>
              <a:t>W</a:t>
            </a:r>
            <a:r>
              <a:rPr lang="en-US" sz="2000" dirty="0"/>
              <a:t>rite </a:t>
            </a:r>
            <a:r>
              <a:rPr lang="en-US" sz="2000" dirty="0">
                <a:highlight>
                  <a:srgbClr val="FFFF00"/>
                </a:highlight>
              </a:rPr>
              <a:t>E</a:t>
            </a:r>
            <a:r>
              <a:rPr lang="en-US" sz="2000" dirty="0"/>
              <a:t>dit </a:t>
            </a:r>
            <a:r>
              <a:rPr lang="en-US" sz="2000" dirty="0">
                <a:highlight>
                  <a:srgbClr val="FFFF00"/>
                </a:highlight>
              </a:rPr>
              <a:t>R</a:t>
            </a:r>
            <a:r>
              <a:rPr lang="en-US" sz="2000" dirty="0"/>
              <a:t>eview</a:t>
            </a:r>
          </a:p>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 | Soft Skills 27/08/24 </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Ø"/>
            </a:pPr>
            <a:r>
              <a:rPr lang="en-US" dirty="0"/>
              <a:t>Neuro-linguistic Programming</a:t>
            </a:r>
          </a:p>
          <a:p>
            <a:pPr>
              <a:buFont typeface="Wingdings" panose="05000000000000000000" pitchFamily="2" charset="2"/>
              <a:buChar char="Ø"/>
            </a:pPr>
            <a:r>
              <a:rPr lang="en-US" dirty="0"/>
              <a:t>Conversational Hypnosis </a:t>
            </a:r>
          </a:p>
          <a:p>
            <a:pPr>
              <a:buFont typeface="Wingdings" panose="05000000000000000000" pitchFamily="2" charset="2"/>
              <a:buChar char="Ø"/>
            </a:pPr>
            <a:r>
              <a:rPr lang="en-US" dirty="0"/>
              <a:t>Clean Language</a:t>
            </a:r>
          </a:p>
          <a:p>
            <a:pPr>
              <a:buFont typeface="Wingdings" panose="05000000000000000000" pitchFamily="2" charset="2"/>
              <a:buChar char="Ø"/>
            </a:pPr>
            <a:r>
              <a:rPr lang="en-US" dirty="0"/>
              <a:t>Agenda: Stakeholder Management</a:t>
            </a:r>
          </a:p>
          <a:p>
            <a:r>
              <a:rPr lang="en-US" dirty="0"/>
              <a:t>Internal &amp; External Stakeholders</a:t>
            </a:r>
          </a:p>
          <a:p>
            <a:r>
              <a:rPr lang="en-US" dirty="0"/>
              <a:t>Power-Interest Grid Technique : </a:t>
            </a:r>
          </a:p>
          <a:p>
            <a:pPr>
              <a:buFont typeface="Wingdings" panose="05000000000000000000" pitchFamily="2" charset="2"/>
              <a:buChar char="§"/>
            </a:pPr>
            <a:r>
              <a:rPr lang="en-US" dirty="0"/>
              <a:t>Inform – High Interest, Low Power</a:t>
            </a:r>
          </a:p>
          <a:p>
            <a:pPr>
              <a:buFont typeface="Wingdings" panose="05000000000000000000" pitchFamily="2" charset="2"/>
              <a:buChar char="§"/>
            </a:pPr>
            <a:r>
              <a:rPr lang="en-US" dirty="0"/>
              <a:t>Monitor – Low Interest, Low Power</a:t>
            </a:r>
          </a:p>
          <a:p>
            <a:pPr>
              <a:buFont typeface="Wingdings" panose="05000000000000000000" pitchFamily="2" charset="2"/>
              <a:buChar char="§"/>
            </a:pPr>
            <a:r>
              <a:rPr lang="en-US" dirty="0"/>
              <a:t>Collaborate with and manage closely – High Interest, High Power</a:t>
            </a:r>
          </a:p>
          <a:p>
            <a:pPr>
              <a:buFont typeface="Wingdings" panose="05000000000000000000" pitchFamily="2" charset="2"/>
              <a:buChar char="§"/>
            </a:pPr>
            <a:r>
              <a:rPr lang="en-US" dirty="0"/>
              <a:t>Satisfy – Low Interest, High Power</a:t>
            </a:r>
          </a:p>
          <a:p>
            <a:r>
              <a:rPr lang="en-US" dirty="0"/>
              <a:t>Stakeholder’s expecta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dirty="0"/>
              <a:t>Q. How can you increase the stakeholder’s interest and motivation?</a:t>
            </a:r>
          </a:p>
          <a:p>
            <a:pPr>
              <a:buFont typeface="Wingdings" panose="05000000000000000000" pitchFamily="2" charset="2"/>
              <a:buChar char="è"/>
            </a:pPr>
            <a:r>
              <a:rPr lang="en-US" dirty="0"/>
              <a:t>By keeping them in loop</a:t>
            </a:r>
          </a:p>
          <a:p>
            <a:pPr>
              <a:buFont typeface="Wingdings" panose="05000000000000000000" pitchFamily="2" charset="2"/>
              <a:buChar char="è"/>
            </a:pPr>
            <a:r>
              <a:rPr lang="en-US" dirty="0"/>
              <a:t>Making them understand the importance they hold.</a:t>
            </a:r>
          </a:p>
          <a:p>
            <a:pPr>
              <a:buFont typeface="Wingdings" panose="05000000000000000000" pitchFamily="2" charset="2"/>
              <a:buChar char="è"/>
            </a:pPr>
            <a:r>
              <a:rPr lang="en-US" dirty="0"/>
              <a:t>Making them feel valued.</a:t>
            </a:r>
          </a:p>
          <a:p>
            <a:pPr marL="0" indent="0">
              <a:buNone/>
            </a:pPr>
            <a:r>
              <a:rPr lang="en-US" dirty="0"/>
              <a:t>Q. How frequently will you contact the stakeholders and through what channel?</a:t>
            </a:r>
          </a:p>
          <a:p>
            <a:pPr>
              <a:buFont typeface="Wingdings" panose="05000000000000000000" pitchFamily="2" charset="2"/>
              <a:buChar char="è"/>
            </a:pPr>
            <a:r>
              <a:rPr lang="en-US" dirty="0"/>
              <a:t>According to the updates or trends(</a:t>
            </a:r>
            <a:r>
              <a:rPr lang="en-US" dirty="0" err="1"/>
              <a:t>atleast</a:t>
            </a:r>
            <a:r>
              <a:rPr lang="en-US" dirty="0"/>
              <a:t> once a week)</a:t>
            </a:r>
          </a:p>
          <a:p>
            <a:pPr>
              <a:buFont typeface="Wingdings" panose="05000000000000000000" pitchFamily="2" charset="2"/>
              <a:buChar char="è"/>
            </a:pPr>
            <a:r>
              <a:rPr lang="en-US" dirty="0"/>
              <a:t>Channel of contact can be both online and offline depending upon the seriousness of the discussion.</a:t>
            </a:r>
          </a:p>
          <a:p>
            <a:pPr marL="0" indent="0">
              <a:buNone/>
            </a:pPr>
            <a:endParaRPr lang="en-US" dirty="0"/>
          </a:p>
        </p:txBody>
      </p:sp>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 | Soft Skills 27/08/24 </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Ø"/>
            </a:pPr>
            <a:r>
              <a:rPr lang="en-US" b="1" dirty="0"/>
              <a:t>TRUST BUILDING</a:t>
            </a:r>
          </a:p>
          <a:p>
            <a:r>
              <a:rPr lang="en-US" dirty="0"/>
              <a:t>Key results of trust building :</a:t>
            </a:r>
          </a:p>
          <a:p>
            <a:pPr>
              <a:buFont typeface="Wingdings" panose="05000000000000000000" pitchFamily="2" charset="2"/>
              <a:buChar char="§"/>
            </a:pPr>
            <a:r>
              <a:rPr lang="en-US" dirty="0"/>
              <a:t>Speed</a:t>
            </a:r>
          </a:p>
          <a:p>
            <a:pPr>
              <a:buFont typeface="Wingdings" panose="05000000000000000000" pitchFamily="2" charset="2"/>
              <a:buChar char="§"/>
            </a:pPr>
            <a:r>
              <a:rPr lang="en-US" dirty="0"/>
              <a:t>Result build brand quality</a:t>
            </a:r>
          </a:p>
          <a:p>
            <a:pPr>
              <a:buFont typeface="Wingdings" panose="05000000000000000000" pitchFamily="2" charset="2"/>
              <a:buChar char="§"/>
            </a:pPr>
            <a:r>
              <a:rPr lang="en-US" dirty="0"/>
              <a:t>fast-paced communication</a:t>
            </a:r>
          </a:p>
          <a:p>
            <a:pPr>
              <a:buFont typeface="Wingdings" panose="05000000000000000000" pitchFamily="2" charset="2"/>
              <a:buChar char="§"/>
            </a:pPr>
            <a:r>
              <a:rPr lang="en-US" dirty="0"/>
              <a:t>People show faith</a:t>
            </a:r>
          </a:p>
          <a:p>
            <a:pPr>
              <a:buFont typeface="Wingdings" panose="05000000000000000000" pitchFamily="2" charset="2"/>
              <a:buChar char="§"/>
            </a:pPr>
            <a:r>
              <a:rPr lang="en-US" dirty="0"/>
              <a:t>They believe what you say.</a:t>
            </a:r>
          </a:p>
          <a:p>
            <a:pPr>
              <a:buFont typeface="Wingdings" panose="05000000000000000000" pitchFamily="2" charset="2"/>
              <a:buChar char="Ø"/>
            </a:pPr>
            <a:r>
              <a:rPr lang="en-US" dirty="0"/>
              <a:t>Shell’s Trust Model</a:t>
            </a:r>
          </a:p>
          <a:p>
            <a:pPr marL="0" indent="0">
              <a:buNone/>
            </a:pPr>
            <a:r>
              <a:rPr lang="en-US" dirty="0"/>
              <a:t>Credibility + Reliability + Intimacy = Trust</a:t>
            </a:r>
          </a:p>
          <a:p>
            <a:pPr marL="0" indent="0">
              <a:buNone/>
            </a:pPr>
            <a:r>
              <a:rPr lang="en-US" dirty="0"/>
              <a:t>Trust is very important for Shell and its line of business. Shell has high regards for trust and honesty within the company as well as with the external stakeholders even the customer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Ø"/>
            </a:pPr>
            <a:r>
              <a:rPr lang="en-US" dirty="0"/>
              <a:t>Johari Window : A stronger culture of trust.</a:t>
            </a:r>
          </a:p>
          <a:p>
            <a:pPr>
              <a:buFont typeface="Wingdings" panose="05000000000000000000" pitchFamily="2" charset="2"/>
              <a:buChar char="Ø"/>
            </a:pPr>
            <a:r>
              <a:rPr lang="en-US" dirty="0"/>
              <a:t>Identifying drivers of Customer Loyalty : </a:t>
            </a:r>
          </a:p>
          <a:p>
            <a:pPr>
              <a:buFont typeface="Wingdings" panose="05000000000000000000" pitchFamily="2" charset="2"/>
              <a:buChar char="§"/>
            </a:pPr>
            <a:r>
              <a:rPr lang="en-US" dirty="0"/>
              <a:t>Right attitude</a:t>
            </a:r>
          </a:p>
          <a:p>
            <a:pPr>
              <a:buFont typeface="Wingdings" panose="05000000000000000000" pitchFamily="2" charset="2"/>
              <a:buChar char="§"/>
            </a:pPr>
            <a:r>
              <a:rPr lang="en-US" dirty="0"/>
              <a:t>Product &amp; services</a:t>
            </a:r>
          </a:p>
          <a:p>
            <a:pPr>
              <a:buFont typeface="Wingdings" panose="05000000000000000000" pitchFamily="2" charset="2"/>
              <a:buChar char="§"/>
            </a:pPr>
            <a:r>
              <a:rPr lang="en-US" dirty="0"/>
              <a:t>Technology</a:t>
            </a:r>
          </a:p>
          <a:p>
            <a:pPr>
              <a:buFont typeface="Wingdings" panose="05000000000000000000" pitchFamily="2" charset="2"/>
              <a:buChar char="§"/>
            </a:pPr>
            <a:r>
              <a:rPr lang="en-US" dirty="0"/>
              <a:t>Human resources</a:t>
            </a:r>
          </a:p>
          <a:p>
            <a:pPr>
              <a:buFont typeface="Wingdings" panose="05000000000000000000" pitchFamily="2" charset="2"/>
              <a:buChar char="§"/>
            </a:pPr>
            <a:r>
              <a:rPr lang="en-US" dirty="0"/>
              <a:t>Company culture</a:t>
            </a:r>
          </a:p>
          <a:p>
            <a:pPr marL="0" indent="0">
              <a:buNone/>
            </a:pPr>
            <a:endParaRPr lang="en-US" dirty="0"/>
          </a:p>
        </p:txBody>
      </p:sp>
    </p:spTree>
    <p:extLst>
      <p:ext uri="{BB962C8B-B14F-4D97-AF65-F5344CB8AC3E}">
        <p14:creationId xmlns:p14="http://schemas.microsoft.com/office/powerpoint/2010/main" val="23575392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 | Soft</a:t>
            </a:r>
            <a:r>
              <a:rPr lang="en-US" sz="4000" b="1" dirty="0">
                <a:effectLst>
                  <a:outerShdw blurRad="38100" dist="38100" dir="2700000" algn="tl">
                    <a:srgbClr val="000000">
                      <a:alpha val="43137"/>
                    </a:srgbClr>
                  </a:outerShdw>
                </a:effectLst>
                <a:latin typeface="+mn-lt"/>
                <a:cs typeface="+mj-cs"/>
              </a:rPr>
              <a:t> </a:t>
            </a:r>
            <a:r>
              <a:rPr lang="en-US" b="1" dirty="0">
                <a:effectLst>
                  <a:outerShdw blurRad="38100" dist="38100" dir="2700000" algn="tl">
                    <a:srgbClr val="000000">
                      <a:alpha val="43137"/>
                    </a:srgbClr>
                  </a:outerShdw>
                </a:effectLst>
                <a:latin typeface="+mn-lt"/>
                <a:cs typeface="+mj-cs"/>
              </a:rPr>
              <a:t>Skills 28/08/24 </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Ø"/>
            </a:pPr>
            <a:r>
              <a:rPr lang="en-US" sz="1400" b="1" dirty="0"/>
              <a:t>TEAM WORK</a:t>
            </a:r>
          </a:p>
          <a:p>
            <a:pPr marL="0" indent="0">
              <a:buNone/>
            </a:pPr>
            <a:r>
              <a:rPr lang="en-US" sz="1400" dirty="0"/>
              <a:t>The process of working collaboratively with a group of people to achieve a goal.</a:t>
            </a:r>
          </a:p>
          <a:p>
            <a:pPr marL="0" indent="0">
              <a:buNone/>
            </a:pPr>
            <a:r>
              <a:rPr lang="en-US" sz="1400" dirty="0"/>
              <a:t>Benefits of team work:</a:t>
            </a:r>
          </a:p>
          <a:p>
            <a:r>
              <a:rPr lang="en-US" sz="1400" dirty="0"/>
              <a:t>Quick solution</a:t>
            </a:r>
          </a:p>
          <a:p>
            <a:r>
              <a:rPr lang="en-US" sz="1400" dirty="0"/>
              <a:t>Improved Productivity</a:t>
            </a:r>
          </a:p>
          <a:p>
            <a:r>
              <a:rPr lang="en-US" sz="1400" dirty="0"/>
              <a:t>Distribution of workload</a:t>
            </a:r>
          </a:p>
          <a:p>
            <a:r>
              <a:rPr lang="en-US" sz="1400" dirty="0"/>
              <a:t>Diversity of Ideas</a:t>
            </a:r>
          </a:p>
          <a:p>
            <a:r>
              <a:rPr lang="en-US" sz="1400" dirty="0"/>
              <a:t>Better decisions</a:t>
            </a:r>
          </a:p>
          <a:p>
            <a:r>
              <a:rPr lang="en-US" sz="1400" dirty="0"/>
              <a:t>Motivation</a:t>
            </a:r>
          </a:p>
          <a:p>
            <a:r>
              <a:rPr lang="en-US" sz="1400" dirty="0"/>
              <a:t>Learning</a:t>
            </a:r>
          </a:p>
          <a:p>
            <a:pPr>
              <a:buFont typeface="Wingdings" panose="05000000000000000000" pitchFamily="2" charset="2"/>
              <a:buChar char="Ø"/>
            </a:pPr>
            <a:r>
              <a:rPr lang="en-US" sz="1400" dirty="0"/>
              <a:t>Stages of Team Development : Tuckman Model </a:t>
            </a:r>
          </a:p>
          <a:p>
            <a:pPr marL="0" indent="0">
              <a:buNone/>
            </a:pPr>
            <a:r>
              <a:rPr lang="en-US" sz="1400" dirty="0"/>
              <a:t>(Forming-&gt;Storming-&gt;Norming-&gt;Perform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400" dirty="0"/>
          </a:p>
          <a:p>
            <a:pPr>
              <a:buFont typeface="Wingdings" panose="05000000000000000000" pitchFamily="2" charset="2"/>
              <a:buChar char="Ø"/>
            </a:pPr>
            <a:r>
              <a:rPr lang="en-US" sz="1400" dirty="0"/>
              <a:t>In one of the activities that we did for teamwork, we were given some cutout of words with which we were supposed to form a meaningful sentence.</a:t>
            </a:r>
          </a:p>
          <a:p>
            <a:pPr marL="0" indent="0">
              <a:buNone/>
            </a:pPr>
            <a:r>
              <a:rPr lang="en-US" sz="1400" dirty="0"/>
              <a:t>My team’s sentence was : THERE IS NO I IN A TEAM.</a:t>
            </a:r>
          </a:p>
          <a:p>
            <a:pPr marL="0" indent="0">
              <a:buNone/>
            </a:pPr>
            <a:r>
              <a:rPr lang="en-US" sz="1400" dirty="0"/>
              <a:t>We were having “ON” instead of “IN” so we communicated with another team which had what we wanted, and we had what they wanted so we traded our words and then were able to complete our respective sentences. One of the key learnings from this activity was not just teamwork but also interdependence.</a:t>
            </a:r>
          </a:p>
          <a:p>
            <a:pPr>
              <a:buFont typeface="Wingdings" panose="05000000000000000000" pitchFamily="2" charset="2"/>
              <a:buChar char="Ø"/>
            </a:pPr>
            <a:r>
              <a:rPr lang="en-US" sz="1400" dirty="0"/>
              <a:t>Giving and Receiving Feedback. Sandwich framework for feedback.</a:t>
            </a:r>
          </a:p>
          <a:p>
            <a:pPr>
              <a:buFont typeface="Wingdings" panose="05000000000000000000" pitchFamily="2" charset="2"/>
              <a:buChar char="Ø"/>
            </a:pPr>
            <a:r>
              <a:rPr lang="en-US" sz="1400" dirty="0"/>
              <a:t>Presentation Skills and Facilitation</a:t>
            </a:r>
          </a:p>
          <a:p>
            <a:pPr>
              <a:buFont typeface="Wingdings" panose="05000000000000000000" pitchFamily="2" charset="2"/>
              <a:buChar char="Ø"/>
            </a:pPr>
            <a:r>
              <a:rPr lang="en-US" sz="1400" dirty="0"/>
              <a:t>Problem-&gt;Solution-&gt;Benefit</a:t>
            </a:r>
          </a:p>
        </p:txBody>
      </p:sp>
    </p:spTree>
    <p:extLst>
      <p:ext uri="{BB962C8B-B14F-4D97-AF65-F5344CB8AC3E}">
        <p14:creationId xmlns:p14="http://schemas.microsoft.com/office/powerpoint/2010/main" val="32337475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 | Technical Training 29</a:t>
            </a:r>
            <a:r>
              <a:rPr lang="en-US" b="1" baseline="30000" dirty="0">
                <a:effectLst>
                  <a:outerShdw blurRad="38100" dist="38100" dir="2700000" algn="tl">
                    <a:srgbClr val="000000">
                      <a:alpha val="43137"/>
                    </a:srgbClr>
                  </a:outerShdw>
                </a:effectLst>
                <a:latin typeface="+mn-lt"/>
                <a:cs typeface="+mj-cs"/>
              </a:rPr>
              <a:t>th</a:t>
            </a:r>
            <a:r>
              <a:rPr lang="en-US" b="1" dirty="0">
                <a:effectLst>
                  <a:outerShdw blurRad="38100" dist="38100" dir="2700000" algn="tl">
                    <a:srgbClr val="000000">
                      <a:alpha val="43137"/>
                    </a:srgbClr>
                  </a:outerShdw>
                </a:effectLst>
                <a:latin typeface="+mn-lt"/>
                <a:cs typeface="+mj-cs"/>
              </a:rPr>
              <a:t>&amp;30</a:t>
            </a:r>
            <a:r>
              <a:rPr lang="en-US" b="1" baseline="30000" dirty="0">
                <a:effectLst>
                  <a:outerShdw blurRad="38100" dist="38100" dir="2700000" algn="tl">
                    <a:srgbClr val="000000">
                      <a:alpha val="43137"/>
                    </a:srgbClr>
                  </a:outerShdw>
                </a:effectLst>
                <a:latin typeface="+mn-lt"/>
                <a:cs typeface="+mj-cs"/>
              </a:rPr>
              <a:t>th</a:t>
            </a:r>
            <a:r>
              <a:rPr lang="en-US" b="1" dirty="0">
                <a:effectLst>
                  <a:outerShdw blurRad="38100" dist="38100" dir="2700000" algn="tl">
                    <a:srgbClr val="000000">
                      <a:alpha val="43137"/>
                    </a:srgbClr>
                  </a:outerShdw>
                </a:effectLst>
                <a:latin typeface="+mn-lt"/>
                <a:cs typeface="+mj-cs"/>
              </a:rPr>
              <a:t> Aug,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35692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Ø"/>
            </a:pPr>
            <a:r>
              <a:rPr lang="en-US" sz="1400" dirty="0"/>
              <a:t>INTRODUCTION TO BUSINESS ANALYSIS</a:t>
            </a:r>
          </a:p>
          <a:p>
            <a:pPr marL="0" indent="0">
              <a:buNone/>
            </a:pPr>
            <a:r>
              <a:rPr lang="en-US" sz="1400" dirty="0"/>
              <a:t>According to IIBA, Business analysis is the practice of enabling change in an organizational context by defining needs and recommending solutions that deliver value to stakeholders.</a:t>
            </a:r>
          </a:p>
          <a:p>
            <a:pPr>
              <a:buFont typeface="Wingdings" panose="05000000000000000000" pitchFamily="2" charset="2"/>
              <a:buChar char="Ø"/>
            </a:pPr>
            <a:r>
              <a:rPr lang="en-US" sz="1400" dirty="0"/>
              <a:t>Software Development Life Cycle (SDLC) Model</a:t>
            </a:r>
          </a:p>
          <a:p>
            <a:pPr>
              <a:buFont typeface="Wingdings" panose="05000000000000000000" pitchFamily="2" charset="2"/>
              <a:buChar char="Ø"/>
            </a:pPr>
            <a:r>
              <a:rPr lang="en-US" sz="1400" dirty="0"/>
              <a:t>Requirement Analysis</a:t>
            </a:r>
          </a:p>
          <a:p>
            <a:pPr>
              <a:buFont typeface="Wingdings" panose="05000000000000000000" pitchFamily="2" charset="2"/>
              <a:buChar char="Ø"/>
            </a:pPr>
            <a:r>
              <a:rPr lang="en-US" sz="1400" dirty="0"/>
              <a:t>Requirement Elicitation</a:t>
            </a:r>
          </a:p>
          <a:p>
            <a:pPr>
              <a:buFont typeface="Wingdings" panose="05000000000000000000" pitchFamily="2" charset="2"/>
              <a:buChar char="Ø"/>
            </a:pPr>
            <a:r>
              <a:rPr lang="en-US" sz="1400" dirty="0"/>
              <a:t>Requirement Modelling</a:t>
            </a:r>
          </a:p>
          <a:p>
            <a:pPr>
              <a:buFont typeface="Wingdings" panose="05000000000000000000" pitchFamily="2" charset="2"/>
              <a:buChar char="Ø"/>
            </a:pPr>
            <a:r>
              <a:rPr lang="en-US" sz="1400" dirty="0"/>
              <a:t>Requirement Management</a:t>
            </a:r>
          </a:p>
          <a:p>
            <a:pPr>
              <a:buFont typeface="Wingdings" panose="05000000000000000000" pitchFamily="2" charset="2"/>
              <a:buChar char="Ø"/>
            </a:pPr>
            <a:r>
              <a:rPr lang="en-US" sz="1400" dirty="0"/>
              <a:t>Work Breakdown Structure</a:t>
            </a:r>
          </a:p>
          <a:p>
            <a:pPr>
              <a:buFont typeface="Wingdings" panose="05000000000000000000" pitchFamily="2" charset="2"/>
              <a:buChar char="Ø"/>
            </a:pPr>
            <a:r>
              <a:rPr lang="en-US" sz="1400" dirty="0"/>
              <a:t>Requirements traceability</a:t>
            </a:r>
          </a:p>
          <a:p>
            <a:pPr>
              <a:buFont typeface="Wingdings" panose="05000000000000000000" pitchFamily="2" charset="2"/>
              <a:buChar char="Ø"/>
            </a:pPr>
            <a:r>
              <a:rPr lang="en-US" sz="1400" dirty="0"/>
              <a:t>Waterfall Model (Drawbacks)</a:t>
            </a:r>
          </a:p>
          <a:p>
            <a:pPr>
              <a:buFont typeface="Wingdings" panose="05000000000000000000" pitchFamily="2" charset="2"/>
              <a:buChar char="Ø"/>
            </a:pPr>
            <a:r>
              <a:rPr lang="en-US" sz="1400" dirty="0"/>
              <a:t>AGILE Methods</a:t>
            </a:r>
          </a:p>
          <a:p>
            <a:pPr>
              <a:buFont typeface="Wingdings" panose="05000000000000000000" pitchFamily="2" charset="2"/>
              <a:buChar char="Ø"/>
            </a:pPr>
            <a:r>
              <a:rPr lang="en-US" sz="1400" dirty="0"/>
              <a:t>SCRUM Flow</a:t>
            </a:r>
          </a:p>
          <a:p>
            <a:pPr marL="0" indent="0">
              <a:buNone/>
            </a:pPr>
            <a:endParaRPr lang="en-US" sz="1400" dirty="0"/>
          </a:p>
          <a:p>
            <a:pPr>
              <a:buFont typeface="Wingdings" panose="05000000000000000000" pitchFamily="2" charset="2"/>
              <a:buChar char="Ø"/>
            </a:pPr>
            <a:endParaRPr lang="en-US" sz="1400" dirty="0"/>
          </a:p>
          <a:p>
            <a:pPr marL="0" indent="0">
              <a:buNone/>
            </a:pPr>
            <a:endParaRPr lang="en-US" sz="1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35692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400" dirty="0"/>
          </a:p>
          <a:p>
            <a:pPr>
              <a:buFont typeface="Wingdings" panose="05000000000000000000" pitchFamily="2" charset="2"/>
              <a:buChar char="Ø"/>
            </a:pPr>
            <a:r>
              <a:rPr lang="en-US" sz="1400" dirty="0"/>
              <a:t>Benefits of SCRUM</a:t>
            </a:r>
          </a:p>
          <a:p>
            <a:pPr>
              <a:buFont typeface="Wingdings" panose="05000000000000000000" pitchFamily="2" charset="2"/>
              <a:buChar char="Ø"/>
            </a:pPr>
            <a:r>
              <a:rPr lang="en-US" sz="1400" dirty="0"/>
              <a:t>AGILE Principles</a:t>
            </a:r>
          </a:p>
          <a:p>
            <a:pPr>
              <a:buFont typeface="Wingdings" panose="05000000000000000000" pitchFamily="2" charset="2"/>
              <a:buChar char="Ø"/>
            </a:pPr>
            <a:r>
              <a:rPr lang="en-US" sz="1400" dirty="0"/>
              <a:t>EPIC – STORY – TASK – SUB TASK</a:t>
            </a:r>
          </a:p>
          <a:p>
            <a:pPr>
              <a:buFont typeface="Wingdings" panose="05000000000000000000" pitchFamily="2" charset="2"/>
              <a:buChar char="Ø"/>
            </a:pPr>
            <a:r>
              <a:rPr lang="en-US" sz="1400" dirty="0"/>
              <a:t>Enabler and Spike Story</a:t>
            </a:r>
          </a:p>
          <a:p>
            <a:pPr>
              <a:buFont typeface="Wingdings" panose="05000000000000000000" pitchFamily="2" charset="2"/>
              <a:buChar char="Ø"/>
            </a:pPr>
            <a:r>
              <a:rPr lang="en-US" sz="1400" dirty="0" err="1"/>
              <a:t>DoR</a:t>
            </a:r>
            <a:r>
              <a:rPr lang="en-US" sz="1400" dirty="0"/>
              <a:t> and DoD</a:t>
            </a:r>
          </a:p>
          <a:p>
            <a:pPr>
              <a:buFont typeface="Wingdings" panose="05000000000000000000" pitchFamily="2" charset="2"/>
              <a:buChar char="Ø"/>
            </a:pPr>
            <a:r>
              <a:rPr lang="en-US" sz="1400" dirty="0"/>
              <a:t>SCRUM Board</a:t>
            </a:r>
          </a:p>
          <a:p>
            <a:pPr>
              <a:buFont typeface="Wingdings" panose="05000000000000000000" pitchFamily="2" charset="2"/>
              <a:buChar char="Ø"/>
            </a:pPr>
            <a:r>
              <a:rPr lang="en-US" sz="1400" dirty="0"/>
              <a:t>Agile workflow, Time estimation, logging work</a:t>
            </a:r>
          </a:p>
          <a:p>
            <a:pPr>
              <a:buFont typeface="Wingdings" panose="05000000000000000000" pitchFamily="2" charset="2"/>
              <a:buChar char="Ø"/>
            </a:pPr>
            <a:r>
              <a:rPr lang="en-US" sz="1400" dirty="0"/>
              <a:t>KANBAN Board, Difference between KANBAN &amp; SCRUM</a:t>
            </a:r>
          </a:p>
          <a:p>
            <a:pPr>
              <a:buFont typeface="Wingdings" panose="05000000000000000000" pitchFamily="2" charset="2"/>
              <a:buChar char="Ø"/>
            </a:pPr>
            <a:r>
              <a:rPr lang="en-US" sz="1400" dirty="0"/>
              <a:t>Project Failures</a:t>
            </a:r>
          </a:p>
          <a:p>
            <a:pPr>
              <a:buFont typeface="Wingdings" panose="05000000000000000000" pitchFamily="2" charset="2"/>
              <a:buChar char="Ø"/>
            </a:pPr>
            <a:r>
              <a:rPr lang="en-US" sz="1400" dirty="0"/>
              <a:t>Estimation in Agile</a:t>
            </a:r>
          </a:p>
          <a:p>
            <a:pPr>
              <a:buFont typeface="Wingdings" panose="05000000000000000000" pitchFamily="2" charset="2"/>
              <a:buChar char="Ø"/>
            </a:pPr>
            <a:r>
              <a:rPr lang="en-US" sz="1400" dirty="0"/>
              <a:t>Story Points , Fibonacci and T-shirt sizing methods</a:t>
            </a:r>
          </a:p>
          <a:p>
            <a:pPr>
              <a:buFont typeface="Wingdings" panose="05000000000000000000" pitchFamily="2" charset="2"/>
              <a:buChar char="Ø"/>
            </a:pPr>
            <a:r>
              <a:rPr lang="en-US" sz="1400" dirty="0"/>
              <a:t>Burn-down chart, burn-up chart and Velocity chart</a:t>
            </a:r>
          </a:p>
          <a:p>
            <a:pPr>
              <a:buFont typeface="Wingdings" panose="05000000000000000000" pitchFamily="2" charset="2"/>
              <a:buChar char="Ø"/>
            </a:pPr>
            <a:r>
              <a:rPr lang="en-US" sz="1400" dirty="0"/>
              <a:t>Azure DevOps login</a:t>
            </a:r>
          </a:p>
          <a:p>
            <a:pPr>
              <a:buFont typeface="Wingdings" panose="05000000000000000000" pitchFamily="2" charset="2"/>
              <a:buChar char="Ø"/>
            </a:pPr>
            <a:endParaRPr lang="en-US" sz="1400" dirty="0"/>
          </a:p>
        </p:txBody>
      </p:sp>
    </p:spTree>
    <p:extLst>
      <p:ext uri="{BB962C8B-B14F-4D97-AF65-F5344CB8AC3E}">
        <p14:creationId xmlns:p14="http://schemas.microsoft.com/office/powerpoint/2010/main" val="22351902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898</TotalTime>
  <Words>1158</Words>
  <Application>Microsoft Office PowerPoint</Application>
  <PresentationFormat>Widescreen</PresentationFormat>
  <Paragraphs>160</Paragraphs>
  <Slides>2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6" baseType="lpstr">
      <vt:lpstr>Arial</vt:lpstr>
      <vt:lpstr>Calibri</vt:lpstr>
      <vt:lpstr>Wingdings</vt:lpstr>
      <vt:lpstr>Office Theme</vt:lpstr>
      <vt:lpstr>think-cell Slide</vt:lpstr>
      <vt:lpstr>PowerPoint Presentation</vt:lpstr>
      <vt:lpstr>About Me</vt:lpstr>
      <vt:lpstr>PowerPoint Presentation</vt:lpstr>
      <vt:lpstr>Learning 1 | My takeaways | Soft Skills 26/08/24 </vt:lpstr>
      <vt:lpstr>Learning 2 | My takeaways | Soft Skills 27/08/24 </vt:lpstr>
      <vt:lpstr>Learning 2 | My takeaways | Soft Skills 27/08/24 </vt:lpstr>
      <vt:lpstr>Learning 3 | My takeaways | Soft Skills 28/08/24 </vt:lpstr>
      <vt:lpstr>Learning 4 | My takeaways | Technical Training 29th&amp;30th Aug,24</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rivastava, Deepika S SBOBNG-PTIY/AGE</cp:lastModifiedBy>
  <cp:revision>499</cp:revision>
  <dcterms:created xsi:type="dcterms:W3CDTF">2022-01-18T12:35:56Z</dcterms:created>
  <dcterms:modified xsi:type="dcterms:W3CDTF">2024-08-30T18:3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